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  <p:sldId id="259" r:id="rId4"/>
    <p:sldId id="260" r:id="rId5"/>
    <p:sldId id="262" r:id="rId6"/>
    <p:sldId id="261" r:id="rId7"/>
    <p:sldId id="263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80" d="100"/>
          <a:sy n="80" d="100"/>
        </p:scale>
        <p:origin x="1656" y="7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NUL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CEABD-0403-431B-A28C-1729BBE1B636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C32C1-28CD-4CD1-A32B-98DEE4AAB8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9609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CEABD-0403-431B-A28C-1729BBE1B636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C32C1-28CD-4CD1-A32B-98DEE4AAB8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1031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CEABD-0403-431B-A28C-1729BBE1B636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C32C1-28CD-4CD1-A32B-98DEE4AAB8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4282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rr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183" y="515820"/>
            <a:ext cx="11865820" cy="549782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11D4E-1809-4E78-9888-6E5915B18F21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9D4B5-002F-4813-9F3B-655890547ED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Isosceles Triangle 8"/>
          <p:cNvSpPr/>
          <p:nvPr userDrawn="1"/>
        </p:nvSpPr>
        <p:spPr>
          <a:xfrm rot="5400000">
            <a:off x="8101396" y="4035052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8101396" y="4477011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/>
          <p:cNvSpPr/>
          <p:nvPr userDrawn="1"/>
        </p:nvSpPr>
        <p:spPr>
          <a:xfrm>
            <a:off x="7251766" y="3781686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Isosceles Triangle 12"/>
          <p:cNvSpPr/>
          <p:nvPr userDrawn="1"/>
        </p:nvSpPr>
        <p:spPr>
          <a:xfrm rot="5400000" flipH="1">
            <a:off x="8101396" y="3524511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/>
          <p:cNvSpPr/>
          <p:nvPr userDrawn="1"/>
        </p:nvSpPr>
        <p:spPr>
          <a:xfrm rot="10800000">
            <a:off x="7251766" y="3964566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/>
          <p:cNvGrpSpPr/>
          <p:nvPr userDrawn="1"/>
        </p:nvGrpSpPr>
        <p:grpSpPr>
          <a:xfrm rot="5400000">
            <a:off x="8447471" y="1810646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20" name="Isosceles Triangle 19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Isosceles Triangle 20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Group 21"/>
          <p:cNvGrpSpPr/>
          <p:nvPr userDrawn="1"/>
        </p:nvGrpSpPr>
        <p:grpSpPr>
          <a:xfrm>
            <a:off x="5788725" y="1665044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23" name="Isosceles Triangle 22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Isosceles Triangle 23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8147116" y="2879986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29" name="Isosceles Triangle 28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Isosceles Triangle 29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1" name="Group 30"/>
          <p:cNvGrpSpPr/>
          <p:nvPr userDrawn="1"/>
        </p:nvGrpSpPr>
        <p:grpSpPr>
          <a:xfrm>
            <a:off x="5771581" y="2879985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32" name="Isosceles Triangle 31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Isosceles Triangle 32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4" name="Isosceles Triangle 33"/>
          <p:cNvSpPr/>
          <p:nvPr userDrawn="1"/>
        </p:nvSpPr>
        <p:spPr>
          <a:xfrm rot="5400000">
            <a:off x="4100896" y="2834265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/>
          <p:cNvGrpSpPr/>
          <p:nvPr userDrawn="1"/>
        </p:nvGrpSpPr>
        <p:grpSpPr>
          <a:xfrm rot="5400000">
            <a:off x="3299194" y="2480572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37" name="Isosceles Triangle 36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Isosceles Triangle 37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2" name="Isosceles Triangle 41"/>
          <p:cNvSpPr/>
          <p:nvPr userDrawn="1"/>
        </p:nvSpPr>
        <p:spPr>
          <a:xfrm rot="16200000">
            <a:off x="4192336" y="4867536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Isosceles Triangle 42"/>
          <p:cNvSpPr/>
          <p:nvPr userDrawn="1"/>
        </p:nvSpPr>
        <p:spPr>
          <a:xfrm>
            <a:off x="5297236" y="4126492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Isosceles Triangle 43"/>
          <p:cNvSpPr/>
          <p:nvPr userDrawn="1"/>
        </p:nvSpPr>
        <p:spPr>
          <a:xfrm rot="5400000">
            <a:off x="6939346" y="4898819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Isosceles Triangle 44"/>
          <p:cNvSpPr/>
          <p:nvPr userDrawn="1"/>
        </p:nvSpPr>
        <p:spPr>
          <a:xfrm rot="16200000">
            <a:off x="6939346" y="5341077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Isosceles Triangle 45"/>
          <p:cNvSpPr/>
          <p:nvPr userDrawn="1"/>
        </p:nvSpPr>
        <p:spPr>
          <a:xfrm rot="10800000">
            <a:off x="4742147" y="4061086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 userDrawn="1"/>
        </p:nvSpPr>
        <p:spPr>
          <a:xfrm rot="5400000">
            <a:off x="9509191" y="5778127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Isosceles Triangle 47"/>
          <p:cNvSpPr/>
          <p:nvPr userDrawn="1"/>
        </p:nvSpPr>
        <p:spPr>
          <a:xfrm>
            <a:off x="10088311" y="5299970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9" name="Group 48"/>
          <p:cNvGrpSpPr/>
          <p:nvPr userDrawn="1"/>
        </p:nvGrpSpPr>
        <p:grpSpPr>
          <a:xfrm rot="5400000">
            <a:off x="8804975" y="3814071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50" name="Isosceles Triangle 49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" name="Group 51"/>
          <p:cNvGrpSpPr/>
          <p:nvPr userDrawn="1"/>
        </p:nvGrpSpPr>
        <p:grpSpPr>
          <a:xfrm rot="5400000">
            <a:off x="9389175" y="3814071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53" name="Isosceles Triangle 52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Isosceles Triangle 53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5" name="Isosceles Triangle 54"/>
          <p:cNvSpPr/>
          <p:nvPr userDrawn="1"/>
        </p:nvSpPr>
        <p:spPr>
          <a:xfrm>
            <a:off x="10095931" y="3873126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Isosceles Triangle 55"/>
          <p:cNvSpPr/>
          <p:nvPr userDrawn="1"/>
        </p:nvSpPr>
        <p:spPr>
          <a:xfrm rot="5400000">
            <a:off x="11254171" y="3930277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Isosceles Triangle 56"/>
          <p:cNvSpPr/>
          <p:nvPr userDrawn="1"/>
        </p:nvSpPr>
        <p:spPr>
          <a:xfrm>
            <a:off x="11814241" y="3438785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8" name="Group 57"/>
          <p:cNvGrpSpPr/>
          <p:nvPr userDrawn="1"/>
        </p:nvGrpSpPr>
        <p:grpSpPr>
          <a:xfrm>
            <a:off x="11117011" y="2879986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59" name="Isosceles Triangle 58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Isosceles Triangle 59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1" name="Group 60"/>
          <p:cNvGrpSpPr/>
          <p:nvPr userDrawn="1"/>
        </p:nvGrpSpPr>
        <p:grpSpPr>
          <a:xfrm rot="5400000">
            <a:off x="11677081" y="1586490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62" name="Isosceles Triangle 61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Isosceles Triangle 62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4" name="Group 63"/>
          <p:cNvGrpSpPr/>
          <p:nvPr userDrawn="1"/>
        </p:nvGrpSpPr>
        <p:grpSpPr>
          <a:xfrm rot="5400000">
            <a:off x="9840660" y="1582045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65" name="Isosceles Triangle 64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Isosceles Triangle 65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7" name="Group 66"/>
          <p:cNvGrpSpPr/>
          <p:nvPr userDrawn="1"/>
        </p:nvGrpSpPr>
        <p:grpSpPr>
          <a:xfrm rot="5400000">
            <a:off x="9155495" y="1582046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68" name="Isosceles Triangle 67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Isosceles Triangle 68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3" name="Isosceles Triangle 72"/>
          <p:cNvSpPr/>
          <p:nvPr userDrawn="1"/>
        </p:nvSpPr>
        <p:spPr>
          <a:xfrm>
            <a:off x="5297236" y="5117090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4" name="Group 73"/>
          <p:cNvGrpSpPr/>
          <p:nvPr userDrawn="1"/>
        </p:nvGrpSpPr>
        <p:grpSpPr>
          <a:xfrm>
            <a:off x="9392986" y="2881891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75" name="Isosceles Triangle 74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Isosceles Triangle 75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1" name="Group 80"/>
          <p:cNvGrpSpPr/>
          <p:nvPr userDrawn="1"/>
        </p:nvGrpSpPr>
        <p:grpSpPr>
          <a:xfrm>
            <a:off x="9392986" y="4769746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82" name="Isosceles Triangle 81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Isosceles Triangle 82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4" name="Isosceles Triangle 83"/>
          <p:cNvSpPr/>
          <p:nvPr userDrawn="1"/>
        </p:nvSpPr>
        <p:spPr>
          <a:xfrm rot="10800000">
            <a:off x="386819" y="3003155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Isosceles Triangle 84"/>
          <p:cNvSpPr/>
          <p:nvPr userDrawn="1"/>
        </p:nvSpPr>
        <p:spPr>
          <a:xfrm rot="5400000">
            <a:off x="1419327" y="4010286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Isosceles Triangle 85"/>
          <p:cNvSpPr/>
          <p:nvPr userDrawn="1"/>
        </p:nvSpPr>
        <p:spPr>
          <a:xfrm rot="16200000">
            <a:off x="5941761" y="1914590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Isosceles Triangle 87"/>
          <p:cNvSpPr/>
          <p:nvPr userDrawn="1"/>
        </p:nvSpPr>
        <p:spPr>
          <a:xfrm rot="16200000">
            <a:off x="1367221" y="2086931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9" name="Group 88"/>
          <p:cNvGrpSpPr/>
          <p:nvPr userDrawn="1"/>
        </p:nvGrpSpPr>
        <p:grpSpPr>
          <a:xfrm>
            <a:off x="3930129" y="2122431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90" name="Isosceles Triangle 89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Isosceles Triangle 90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5" name="Group 94"/>
          <p:cNvGrpSpPr/>
          <p:nvPr userDrawn="1"/>
        </p:nvGrpSpPr>
        <p:grpSpPr>
          <a:xfrm rot="5400000">
            <a:off x="8447472" y="2483432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96" name="Isosceles Triangle 95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Isosceles Triangle 96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1" name="Group 100"/>
          <p:cNvGrpSpPr/>
          <p:nvPr userDrawn="1"/>
        </p:nvGrpSpPr>
        <p:grpSpPr>
          <a:xfrm>
            <a:off x="9287992" y="2132651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102" name="Isosceles Triangle 101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Isosceles Triangle 102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7" name="Group 106"/>
          <p:cNvGrpSpPr/>
          <p:nvPr userDrawn="1"/>
        </p:nvGrpSpPr>
        <p:grpSpPr>
          <a:xfrm>
            <a:off x="2611186" y="5071369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108" name="Isosceles Triangle 107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Isosceles Triangle 108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4" name="Isosceles Triangle 113"/>
          <p:cNvSpPr/>
          <p:nvPr userDrawn="1"/>
        </p:nvSpPr>
        <p:spPr>
          <a:xfrm>
            <a:off x="5297236" y="2406966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Isosceles Triangle 114"/>
          <p:cNvSpPr/>
          <p:nvPr userDrawn="1"/>
        </p:nvSpPr>
        <p:spPr>
          <a:xfrm flipV="1">
            <a:off x="6903603" y="2406966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Isosceles Triangle 115"/>
          <p:cNvSpPr/>
          <p:nvPr userDrawn="1"/>
        </p:nvSpPr>
        <p:spPr>
          <a:xfrm rot="5400000">
            <a:off x="7725104" y="2086931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Isosceles Triangle 116"/>
          <p:cNvSpPr/>
          <p:nvPr userDrawn="1"/>
        </p:nvSpPr>
        <p:spPr>
          <a:xfrm rot="16200000">
            <a:off x="7709165" y="1405629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Isosceles Triangle 117"/>
          <p:cNvSpPr/>
          <p:nvPr userDrawn="1"/>
        </p:nvSpPr>
        <p:spPr>
          <a:xfrm rot="5400000">
            <a:off x="4100896" y="3557202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Isosceles Triangle 118"/>
          <p:cNvSpPr/>
          <p:nvPr userDrawn="1"/>
        </p:nvSpPr>
        <p:spPr>
          <a:xfrm rot="5400000">
            <a:off x="4096763" y="4053158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Isosceles Triangle 119"/>
          <p:cNvSpPr/>
          <p:nvPr userDrawn="1"/>
        </p:nvSpPr>
        <p:spPr>
          <a:xfrm>
            <a:off x="3434147" y="4190318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Isosceles Triangle 120"/>
          <p:cNvSpPr/>
          <p:nvPr userDrawn="1"/>
        </p:nvSpPr>
        <p:spPr>
          <a:xfrm rot="10800000">
            <a:off x="2209800" y="2879985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Isosceles Triangle 121"/>
          <p:cNvSpPr/>
          <p:nvPr userDrawn="1"/>
        </p:nvSpPr>
        <p:spPr>
          <a:xfrm rot="10800000">
            <a:off x="2700721" y="3343598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Isosceles Triangle 122"/>
          <p:cNvSpPr/>
          <p:nvPr userDrawn="1"/>
        </p:nvSpPr>
        <p:spPr>
          <a:xfrm rot="16200000">
            <a:off x="2474026" y="4419220"/>
            <a:ext cx="91440" cy="182880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4" name="Group 123"/>
          <p:cNvGrpSpPr/>
          <p:nvPr userDrawn="1"/>
        </p:nvGrpSpPr>
        <p:grpSpPr>
          <a:xfrm>
            <a:off x="2573515" y="2132651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125" name="Isosceles Triangle 124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Isosceles Triangle 125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9" name="Group 98"/>
          <p:cNvGrpSpPr/>
          <p:nvPr userDrawn="1"/>
        </p:nvGrpSpPr>
        <p:grpSpPr>
          <a:xfrm>
            <a:off x="10774593" y="1875417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100" name="Isosceles Triangle 99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Isosceles Triangle 103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5" name="Group 104"/>
          <p:cNvGrpSpPr/>
          <p:nvPr userDrawn="1"/>
        </p:nvGrpSpPr>
        <p:grpSpPr>
          <a:xfrm>
            <a:off x="10774593" y="1293130"/>
            <a:ext cx="365760" cy="91441"/>
            <a:chOff x="9707880" y="531494"/>
            <a:chExt cx="365760" cy="91441"/>
          </a:xfrm>
          <a:solidFill>
            <a:srgbClr val="FFC000"/>
          </a:solidFill>
        </p:grpSpPr>
        <p:sp>
          <p:nvSpPr>
            <p:cNvPr id="106" name="Isosceles Triangle 105"/>
            <p:cNvSpPr/>
            <p:nvPr/>
          </p:nvSpPr>
          <p:spPr>
            <a:xfrm rot="16200000">
              <a:off x="9753600" y="485775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Isosceles Triangle 109"/>
            <p:cNvSpPr/>
            <p:nvPr/>
          </p:nvSpPr>
          <p:spPr>
            <a:xfrm rot="5400000">
              <a:off x="9936480" y="485774"/>
              <a:ext cx="91440" cy="182880"/>
            </a:xfrm>
            <a:prstGeom prst="triangl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1" name="Isosceles Triangle 110"/>
          <p:cNvSpPr/>
          <p:nvPr userDrawn="1"/>
        </p:nvSpPr>
        <p:spPr>
          <a:xfrm rot="5400000">
            <a:off x="10233091" y="1247410"/>
            <a:ext cx="91440" cy="182880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Isosceles Triangle 111"/>
          <p:cNvSpPr/>
          <p:nvPr userDrawn="1"/>
        </p:nvSpPr>
        <p:spPr>
          <a:xfrm rot="16200000">
            <a:off x="10233091" y="1832303"/>
            <a:ext cx="91440" cy="182880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Isosceles Triangle 112"/>
          <p:cNvSpPr/>
          <p:nvPr userDrawn="1"/>
        </p:nvSpPr>
        <p:spPr>
          <a:xfrm rot="5400000">
            <a:off x="9048007" y="2068552"/>
            <a:ext cx="91440" cy="182880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656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CEABD-0403-431B-A28C-1729BBE1B636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C32C1-28CD-4CD1-A32B-98DEE4AAB8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0099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CEABD-0403-431B-A28C-1729BBE1B636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C32C1-28CD-4CD1-A32B-98DEE4AAB8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06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CEABD-0403-431B-A28C-1729BBE1B636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C32C1-28CD-4CD1-A32B-98DEE4AAB8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4016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CEABD-0403-431B-A28C-1729BBE1B636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C32C1-28CD-4CD1-A32B-98DEE4AAB8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6188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CEABD-0403-431B-A28C-1729BBE1B636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C32C1-28CD-4CD1-A32B-98DEE4AAB8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7039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CEABD-0403-431B-A28C-1729BBE1B636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C32C1-28CD-4CD1-A32B-98DEE4AAB8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7046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CEABD-0403-431B-A28C-1729BBE1B636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C32C1-28CD-4CD1-A32B-98DEE4AAB8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6072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CEABD-0403-431B-A28C-1729BBE1B636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C32C1-28CD-4CD1-A32B-98DEE4AAB8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795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3CEABD-0403-431B-A28C-1729BBE1B636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C32C1-28CD-4CD1-A32B-98DEE4AAB8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811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NULL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NULL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NULL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2" name="Object 4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-180975"/>
            <a:ext cx="10515600" cy="1325563"/>
          </a:xfrm>
        </p:spPr>
        <p:txBody>
          <a:bodyPr/>
          <a:lstStyle/>
          <a:p>
            <a:r>
              <a:rPr lang="en-US" dirty="0" smtClean="0"/>
              <a:t>UB KLT Route 1 (K50.1)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431932" y="2157666"/>
            <a:ext cx="306324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451362" y="2141338"/>
            <a:ext cx="0" cy="41148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3487008" y="2141338"/>
            <a:ext cx="0" cy="297180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flipV="1">
            <a:off x="2258010" y="5085921"/>
            <a:ext cx="123444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2258010" y="2203504"/>
            <a:ext cx="0" cy="288036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V="1">
            <a:off x="1172161" y="2211668"/>
            <a:ext cx="109728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1172161" y="2211668"/>
            <a:ext cx="0" cy="36576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1172161" y="2552818"/>
            <a:ext cx="54864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209550" y="800100"/>
            <a:ext cx="1982746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/>
              <a:t>Current</a:t>
            </a:r>
            <a:endParaRPr lang="en-US" sz="40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6197212"/>
              </p:ext>
            </p:extLst>
          </p:nvPr>
        </p:nvGraphicFramePr>
        <p:xfrm>
          <a:off x="5784361" y="31309"/>
          <a:ext cx="5452037" cy="67816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0054">
                  <a:extLst>
                    <a:ext uri="{9D8B030D-6E8A-4147-A177-3AD203B41FA5}">
                      <a16:colId xmlns:a16="http://schemas.microsoft.com/office/drawing/2014/main" val="4056779401"/>
                    </a:ext>
                  </a:extLst>
                </a:gridCol>
                <a:gridCol w="1089892">
                  <a:extLst>
                    <a:ext uri="{9D8B030D-6E8A-4147-A177-3AD203B41FA5}">
                      <a16:colId xmlns:a16="http://schemas.microsoft.com/office/drawing/2014/main" val="1610318188"/>
                    </a:ext>
                  </a:extLst>
                </a:gridCol>
                <a:gridCol w="668332">
                  <a:extLst>
                    <a:ext uri="{9D8B030D-6E8A-4147-A177-3AD203B41FA5}">
                      <a16:colId xmlns:a16="http://schemas.microsoft.com/office/drawing/2014/main" val="2725217298"/>
                    </a:ext>
                  </a:extLst>
                </a:gridCol>
                <a:gridCol w="894535">
                  <a:extLst>
                    <a:ext uri="{9D8B030D-6E8A-4147-A177-3AD203B41FA5}">
                      <a16:colId xmlns:a16="http://schemas.microsoft.com/office/drawing/2014/main" val="1535575551"/>
                    </a:ext>
                  </a:extLst>
                </a:gridCol>
                <a:gridCol w="904818">
                  <a:extLst>
                    <a:ext uri="{9D8B030D-6E8A-4147-A177-3AD203B41FA5}">
                      <a16:colId xmlns:a16="http://schemas.microsoft.com/office/drawing/2014/main" val="3459220433"/>
                    </a:ext>
                  </a:extLst>
                </a:gridCol>
                <a:gridCol w="709459">
                  <a:extLst>
                    <a:ext uri="{9D8B030D-6E8A-4147-A177-3AD203B41FA5}">
                      <a16:colId xmlns:a16="http://schemas.microsoft.com/office/drawing/2014/main" val="1386542949"/>
                    </a:ext>
                  </a:extLst>
                </a:gridCol>
                <a:gridCol w="544947">
                  <a:extLst>
                    <a:ext uri="{9D8B030D-6E8A-4147-A177-3AD203B41FA5}">
                      <a16:colId xmlns:a16="http://schemas.microsoft.com/office/drawing/2014/main" val="74250887"/>
                    </a:ext>
                  </a:extLst>
                </a:gridCol>
              </a:tblGrid>
              <a:tr h="2248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Model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Padre Formatted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Area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Line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Lineside Address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Container Type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QPC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ctr"/>
                </a:tc>
                <a:extLst>
                  <a:ext uri="{0D108BD9-81ED-4DB2-BD59-A6C34878D82A}">
                    <a16:rowId xmlns:a16="http://schemas.microsoft.com/office/drawing/2014/main" val="4008339312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ATLAS FA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47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-101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4024843648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ATLAS FA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11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-101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173296203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3QF 803 06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01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 Deca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2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1580202993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3QF 801 35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06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3857645953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2 50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06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 Deca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8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1059742221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2 95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06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 Deca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3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3083635683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45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16 U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06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 Deca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51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646182540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14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16 U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10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402157764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77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10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7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1543576532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u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776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10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7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785081567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13 72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240-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165546216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14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H RAI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240-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3149138129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22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H RAI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240-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914815781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u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17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H RAI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240-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1181423340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13 12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H RAI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-1240-0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95575407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N 909 293 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-1240-0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0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4085923605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2 84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-1290-0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3330836390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131 12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-1290-0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3356400803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53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-1290-0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2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71635181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u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536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-1290-0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2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060089072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N 909 293 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-1290-0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,0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3305266054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6 09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TRAGERSYSTE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-1380-0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488990331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64 62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TRAGERSYSTE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-1380-0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3717879072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2 84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-1290-0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885745960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131 12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-1290-0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32424037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53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-1290-0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2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709013840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u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535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I-1290-0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2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1185655789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13 72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240-0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KL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773613660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14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240-0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KL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1254247289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22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240-0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KL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4262835313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13 1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240-0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KL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3985940667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u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16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240-0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KL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3884985723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14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10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446432445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77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10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KL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7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976595512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u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775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10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KL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7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4233152979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1 35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06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982778326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2 95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06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KLT Decan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8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3193575761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45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06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 Deca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51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195483667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50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I-106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KLT Decan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2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1822982199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47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0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1434389934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11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0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KL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788873046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06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0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 Deca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2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3689841317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58 25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RONT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1030-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KL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8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1624974584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13 12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RONT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114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3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3952146186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13 12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RONT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114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461357601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28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RONT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13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3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213382657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28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RONT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13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3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714409350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2 4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RONT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13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4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066173201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2 42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RONT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13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4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284915701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1 58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RONT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160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840623412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13 25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RONT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160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8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2933297426"/>
                  </a:ext>
                </a:extLst>
              </a:tr>
              <a:tr h="119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13 26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RONT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160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8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173" marR="4173" marT="4173" marB="0" anchor="b"/>
                </a:tc>
                <a:extLst>
                  <a:ext uri="{0D108BD9-81ED-4DB2-BD59-A6C34878D82A}">
                    <a16:rowId xmlns:a16="http://schemas.microsoft.com/office/drawing/2014/main" val="36177593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5242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2" name="Object 4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-180975"/>
            <a:ext cx="10515600" cy="1325563"/>
          </a:xfrm>
        </p:spPr>
        <p:txBody>
          <a:bodyPr/>
          <a:lstStyle/>
          <a:p>
            <a:r>
              <a:rPr lang="en-US" dirty="0" smtClean="0"/>
              <a:t>UB KLT Route 2 (K50.2)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431932" y="2157666"/>
            <a:ext cx="310896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451362" y="2141338"/>
            <a:ext cx="0" cy="41148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3444323" y="4149752"/>
            <a:ext cx="0" cy="96012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flipV="1">
            <a:off x="2258010" y="5085921"/>
            <a:ext cx="118872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2739702" y="2203504"/>
            <a:ext cx="0" cy="233172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V="1">
            <a:off x="1172161" y="2211668"/>
            <a:ext cx="16002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1172161" y="2211668"/>
            <a:ext cx="0" cy="36576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1172161" y="2552818"/>
            <a:ext cx="54864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2282502" y="4535224"/>
            <a:ext cx="4572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2274338" y="4510732"/>
            <a:ext cx="0" cy="59436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3436159" y="4154766"/>
            <a:ext cx="13716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794695" y="4125801"/>
            <a:ext cx="0" cy="82296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3898802" y="4953349"/>
            <a:ext cx="9144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3898802" y="4618925"/>
            <a:ext cx="0" cy="347472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V="1">
            <a:off x="3511500" y="4630160"/>
            <a:ext cx="41148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537939" y="2148413"/>
            <a:ext cx="0" cy="246888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209550" y="800100"/>
            <a:ext cx="1982746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/>
              <a:t>Current</a:t>
            </a:r>
            <a:endParaRPr lang="en-US" sz="40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1448865"/>
              </p:ext>
            </p:extLst>
          </p:nvPr>
        </p:nvGraphicFramePr>
        <p:xfrm>
          <a:off x="6330897" y="164797"/>
          <a:ext cx="5056417" cy="648945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3610">
                  <a:extLst>
                    <a:ext uri="{9D8B030D-6E8A-4147-A177-3AD203B41FA5}">
                      <a16:colId xmlns:a16="http://schemas.microsoft.com/office/drawing/2014/main" val="947351966"/>
                    </a:ext>
                  </a:extLst>
                </a:gridCol>
                <a:gridCol w="1010807">
                  <a:extLst>
                    <a:ext uri="{9D8B030D-6E8A-4147-A177-3AD203B41FA5}">
                      <a16:colId xmlns:a16="http://schemas.microsoft.com/office/drawing/2014/main" val="1829180570"/>
                    </a:ext>
                  </a:extLst>
                </a:gridCol>
                <a:gridCol w="619835">
                  <a:extLst>
                    <a:ext uri="{9D8B030D-6E8A-4147-A177-3AD203B41FA5}">
                      <a16:colId xmlns:a16="http://schemas.microsoft.com/office/drawing/2014/main" val="2809628920"/>
                    </a:ext>
                  </a:extLst>
                </a:gridCol>
                <a:gridCol w="829623">
                  <a:extLst>
                    <a:ext uri="{9D8B030D-6E8A-4147-A177-3AD203B41FA5}">
                      <a16:colId xmlns:a16="http://schemas.microsoft.com/office/drawing/2014/main" val="1627233671"/>
                    </a:ext>
                  </a:extLst>
                </a:gridCol>
                <a:gridCol w="839160">
                  <a:extLst>
                    <a:ext uri="{9D8B030D-6E8A-4147-A177-3AD203B41FA5}">
                      <a16:colId xmlns:a16="http://schemas.microsoft.com/office/drawing/2014/main" val="594913077"/>
                    </a:ext>
                  </a:extLst>
                </a:gridCol>
                <a:gridCol w="657977">
                  <a:extLst>
                    <a:ext uri="{9D8B030D-6E8A-4147-A177-3AD203B41FA5}">
                      <a16:colId xmlns:a16="http://schemas.microsoft.com/office/drawing/2014/main" val="2649116352"/>
                    </a:ext>
                  </a:extLst>
                </a:gridCol>
                <a:gridCol w="505405">
                  <a:extLst>
                    <a:ext uri="{9D8B030D-6E8A-4147-A177-3AD203B41FA5}">
                      <a16:colId xmlns:a16="http://schemas.microsoft.com/office/drawing/2014/main" val="2537721815"/>
                    </a:ext>
                  </a:extLst>
                </a:gridCol>
              </a:tblGrid>
              <a:tr h="176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Model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Padre Formatted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Area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Line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Lineside Address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Container Type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QPC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ctr"/>
                </a:tc>
                <a:extLst>
                  <a:ext uri="{0D108BD9-81ED-4DB2-BD59-A6C34878D82A}">
                    <a16:rowId xmlns:a16="http://schemas.microsoft.com/office/drawing/2014/main" val="1623669490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CN 804 74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47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957782818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CN 804 7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47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2499766755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u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CM 804 74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47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414753893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u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CM 804 7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47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721621364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20 13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200-0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317425082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2 09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200-0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834993189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012 12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200-0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27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2116592940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Q0 803 274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200-0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7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2238995669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QA 802 55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-PILLAR S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020-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611169341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QA 802 55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-PILLAR S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020-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2544515987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QA 802 84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-PILLAR S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020-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9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1774060824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CN 802 1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-PILLAR S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020-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1739814204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CN 802 11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-PILLAR S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020-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542296118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CN 804 41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-PILLAR S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J-1020-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1454075195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9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-24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1308484730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4 91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-24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99864820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34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-24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621814236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34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-24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4248546957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u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N 021 156 6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-2440-01</a:t>
                      </a:r>
                      <a:endParaRPr lang="en-US" sz="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,0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300278025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5 39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-260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 Deca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5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538308345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5 39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-260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 Deca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5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404191829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CN 823 4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-2670-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1383078013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5 08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-2670-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6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1267577506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5 08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-2670-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6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879969831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17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-274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638094333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C0 809 1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5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761946577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C0 809 11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5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485822788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N 906 547 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5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,0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095514377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9 12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550-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4174698970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9 12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550-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4184167065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9 13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550-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932136505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9 13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550-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98376204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N 906 526 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550-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,0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964944973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C0 802 22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3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578864004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C0 802 22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3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2623342931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57 02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3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257239553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57 02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3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2372524170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5 6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3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2077771719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5 31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3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9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618399637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u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N 912 209 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5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7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4229908628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N 912 209 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5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7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2806809006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N 906 526 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H-25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,0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27477121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17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250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811079116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CN 805 3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241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9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2066205433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CN 803 24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241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2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2445876166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CN 801 33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241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7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1410202756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ATLAS FA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K0 805 517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AS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241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98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3583270047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u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3 272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123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107935243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u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02 091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123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4277897902"/>
                  </a:ext>
                </a:extLst>
              </a:tr>
              <a:tr h="83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ou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QF 858 68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6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-1230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33" marR="4333" marT="4333" marB="0" anchor="b"/>
                </a:tc>
                <a:extLst>
                  <a:ext uri="{0D108BD9-81ED-4DB2-BD59-A6C34878D82A}">
                    <a16:rowId xmlns:a16="http://schemas.microsoft.com/office/drawing/2014/main" val="14667205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6304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2" name="Object 4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-180975"/>
            <a:ext cx="10515600" cy="1325563"/>
          </a:xfrm>
        </p:spPr>
        <p:txBody>
          <a:bodyPr/>
          <a:lstStyle/>
          <a:p>
            <a:r>
              <a:rPr lang="en-US" dirty="0" smtClean="0"/>
              <a:t>UB KLT Route 3 (K50.3)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431932" y="2157666"/>
            <a:ext cx="4919472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451362" y="2141338"/>
            <a:ext cx="0" cy="41148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5332136" y="2162683"/>
            <a:ext cx="0" cy="77724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flipV="1">
            <a:off x="3421461" y="3669811"/>
            <a:ext cx="13716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2739702" y="2203504"/>
            <a:ext cx="0" cy="155448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V="1">
            <a:off x="1172161" y="2211668"/>
            <a:ext cx="16002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1172161" y="2211668"/>
            <a:ext cx="0" cy="36576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1172161" y="2552818"/>
            <a:ext cx="54864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2731538" y="3757984"/>
            <a:ext cx="73152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444323" y="3677975"/>
            <a:ext cx="0" cy="9144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3503336" y="2932183"/>
            <a:ext cx="18288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793061" y="3643253"/>
            <a:ext cx="0" cy="132588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3898802" y="4953349"/>
            <a:ext cx="9144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3898802" y="4618925"/>
            <a:ext cx="0" cy="347472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V="1">
            <a:off x="3511500" y="4630160"/>
            <a:ext cx="41148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513447" y="2915855"/>
            <a:ext cx="0" cy="173736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209550" y="800100"/>
            <a:ext cx="1982746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/>
              <a:t>Current</a:t>
            </a:r>
            <a:endParaRPr lang="en-US" sz="40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6560426"/>
              </p:ext>
            </p:extLst>
          </p:nvPr>
        </p:nvGraphicFramePr>
        <p:xfrm>
          <a:off x="5914824" y="389232"/>
          <a:ext cx="5619677" cy="61333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9735">
                  <a:extLst>
                    <a:ext uri="{9D8B030D-6E8A-4147-A177-3AD203B41FA5}">
                      <a16:colId xmlns:a16="http://schemas.microsoft.com/office/drawing/2014/main" val="2778935915"/>
                    </a:ext>
                  </a:extLst>
                </a:gridCol>
                <a:gridCol w="1123405">
                  <a:extLst>
                    <a:ext uri="{9D8B030D-6E8A-4147-A177-3AD203B41FA5}">
                      <a16:colId xmlns:a16="http://schemas.microsoft.com/office/drawing/2014/main" val="1660350291"/>
                    </a:ext>
                  </a:extLst>
                </a:gridCol>
                <a:gridCol w="688881">
                  <a:extLst>
                    <a:ext uri="{9D8B030D-6E8A-4147-A177-3AD203B41FA5}">
                      <a16:colId xmlns:a16="http://schemas.microsoft.com/office/drawing/2014/main" val="840173156"/>
                    </a:ext>
                  </a:extLst>
                </a:gridCol>
                <a:gridCol w="922040">
                  <a:extLst>
                    <a:ext uri="{9D8B030D-6E8A-4147-A177-3AD203B41FA5}">
                      <a16:colId xmlns:a16="http://schemas.microsoft.com/office/drawing/2014/main" val="4201257677"/>
                    </a:ext>
                  </a:extLst>
                </a:gridCol>
                <a:gridCol w="932639">
                  <a:extLst>
                    <a:ext uri="{9D8B030D-6E8A-4147-A177-3AD203B41FA5}">
                      <a16:colId xmlns:a16="http://schemas.microsoft.com/office/drawing/2014/main" val="3971308056"/>
                    </a:ext>
                  </a:extLst>
                </a:gridCol>
                <a:gridCol w="731274">
                  <a:extLst>
                    <a:ext uri="{9D8B030D-6E8A-4147-A177-3AD203B41FA5}">
                      <a16:colId xmlns:a16="http://schemas.microsoft.com/office/drawing/2014/main" val="3776955160"/>
                    </a:ext>
                  </a:extLst>
                </a:gridCol>
                <a:gridCol w="561703">
                  <a:extLst>
                    <a:ext uri="{9D8B030D-6E8A-4147-A177-3AD203B41FA5}">
                      <a16:colId xmlns:a16="http://schemas.microsoft.com/office/drawing/2014/main" val="1290801670"/>
                    </a:ext>
                  </a:extLst>
                </a:gridCol>
              </a:tblGrid>
              <a:tr h="1873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Model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Padre Formatted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Area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ine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ineside Address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ontainer Type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QPC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ctr"/>
                </a:tc>
                <a:extLst>
                  <a:ext uri="{0D108BD9-81ED-4DB2-BD59-A6C34878D82A}">
                    <a16:rowId xmlns:a16="http://schemas.microsoft.com/office/drawing/2014/main" val="3453901954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3 80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TUNNE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22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948077363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3 8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TUNNE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22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420936859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C0 858 251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TUNNE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22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2490390503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3 06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82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1219747858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2 558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82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1455615992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3 5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82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1810838184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4 14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82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1786905064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N 909 293 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82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,0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376232331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6 66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8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2540556604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3 54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8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1653493149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K0 804 14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8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563028819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2 16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8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843478362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C0 802 17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36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2871854958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C0 802 17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36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070378954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4 093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64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292955255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4 094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E-164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725397079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K0 000 9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GEO 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-1001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2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700456199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K0 000 9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GEO 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-1001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2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1308041814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N 016 196 6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GEO 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-1001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8,0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568352453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N 016 196 6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GEO 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-1001-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8,0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2367382467"/>
                  </a:ext>
                </a:extLst>
              </a:tr>
              <a:tr h="918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3 39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GEO 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-206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496528210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3 06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2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305923078"/>
                  </a:ext>
                </a:extLst>
              </a:tr>
              <a:tr h="918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3 54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2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2358516250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2 55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2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925856107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3 50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2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4041395817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4 14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2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844321785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K0 804 49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2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7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2695246336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K0 611 791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2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9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724963553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K0 864 625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2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472041976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6 66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2359572404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K0 803 45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949662054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K0 803 45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4291309236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3 84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1102598381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3 84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534905373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3 2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6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159933917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K0 804 14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8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1925580374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K0 803 11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9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144652805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K0 803 11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LH RAI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85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9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4045049212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13 47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700-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2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486732349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86 17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70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559243941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C0 803 73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700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7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2602915988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13 17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6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2295143930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13 17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610-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1648745476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C0 885 30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610-0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1756451026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N 909 293 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EAR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-1610-0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,0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924830575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1 197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RONT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SUM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101727060"/>
                  </a:ext>
                </a:extLst>
              </a:tr>
              <a:tr h="884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61 801 198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11 U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FRONT FL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SUM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ROD KL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91" marR="4591" marT="4591" marB="0" anchor="b"/>
                </a:tc>
                <a:extLst>
                  <a:ext uri="{0D108BD9-81ED-4DB2-BD59-A6C34878D82A}">
                    <a16:rowId xmlns:a16="http://schemas.microsoft.com/office/drawing/2014/main" val="39643152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7909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2" name="Object 4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-180975"/>
            <a:ext cx="10515600" cy="1325563"/>
          </a:xfrm>
        </p:spPr>
        <p:txBody>
          <a:bodyPr/>
          <a:lstStyle/>
          <a:p>
            <a:r>
              <a:rPr lang="en-US" dirty="0" smtClean="0"/>
              <a:t>BS/Frame/Closure KLT Route (K51) Current</a:t>
            </a:r>
            <a:endParaRPr lang="en-US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3429858" y="2204556"/>
            <a:ext cx="0" cy="68580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7248038" y="4584201"/>
            <a:ext cx="173736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9155851" y="4939602"/>
            <a:ext cx="0" cy="587226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5972544" y="5481208"/>
            <a:ext cx="3183307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H="1">
            <a:off x="9553295" y="4795308"/>
            <a:ext cx="605244" cy="135172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0165954" y="4799464"/>
            <a:ext cx="0" cy="1085353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414940" y="2896806"/>
            <a:ext cx="6138355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5361438" y="4930480"/>
            <a:ext cx="0" cy="45720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flipV="1">
            <a:off x="5340014" y="4939602"/>
            <a:ext cx="36576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7300809" y="3626468"/>
            <a:ext cx="173736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7300809" y="3587295"/>
            <a:ext cx="0" cy="996906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9553295" y="2896806"/>
            <a:ext cx="0" cy="1902658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 flipV="1">
            <a:off x="6654171" y="1495934"/>
            <a:ext cx="20574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6644505" y="1481251"/>
            <a:ext cx="0" cy="54864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 flipV="1">
            <a:off x="5306433" y="2006446"/>
            <a:ext cx="132588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5322430" y="1986507"/>
            <a:ext cx="0" cy="18288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6003695" y="5479120"/>
            <a:ext cx="0" cy="36576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V="1">
            <a:off x="5987367" y="5844880"/>
            <a:ext cx="155448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7527692" y="5402928"/>
            <a:ext cx="0" cy="45720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flipV="1">
            <a:off x="5344195" y="5395014"/>
            <a:ext cx="219456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9062744" y="4775907"/>
            <a:ext cx="490551" cy="101837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V="1">
            <a:off x="9050710" y="5860128"/>
            <a:ext cx="109728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8969070" y="4564720"/>
            <a:ext cx="0" cy="36576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9062744" y="4877744"/>
            <a:ext cx="0" cy="982384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9178324" y="4939602"/>
            <a:ext cx="374971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6961061" y="2220884"/>
            <a:ext cx="0" cy="73152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flipV="1">
            <a:off x="6961061" y="2203704"/>
            <a:ext cx="173736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8681281" y="1472184"/>
            <a:ext cx="0" cy="73152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451362" y="2141338"/>
            <a:ext cx="0" cy="41148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 flipV="1">
            <a:off x="1172161" y="2211668"/>
            <a:ext cx="22860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1172161" y="2211668"/>
            <a:ext cx="0" cy="36576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flipV="1">
            <a:off x="1172161" y="2552818"/>
            <a:ext cx="54864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 flipV="1">
            <a:off x="431932" y="2157666"/>
            <a:ext cx="4919472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6943921" y="2972632"/>
            <a:ext cx="2053693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8985398" y="2972632"/>
            <a:ext cx="0" cy="653836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209550" y="800100"/>
            <a:ext cx="1982746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/>
              <a:t>Current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736503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939844"/>
              </p:ext>
            </p:extLst>
          </p:nvPr>
        </p:nvGraphicFramePr>
        <p:xfrm>
          <a:off x="65601" y="125398"/>
          <a:ext cx="3111939" cy="67219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4970">
                  <a:extLst>
                    <a:ext uri="{9D8B030D-6E8A-4147-A177-3AD203B41FA5}">
                      <a16:colId xmlns:a16="http://schemas.microsoft.com/office/drawing/2014/main" val="4145914558"/>
                    </a:ext>
                  </a:extLst>
                </a:gridCol>
                <a:gridCol w="550979">
                  <a:extLst>
                    <a:ext uri="{9D8B030D-6E8A-4147-A177-3AD203B41FA5}">
                      <a16:colId xmlns:a16="http://schemas.microsoft.com/office/drawing/2014/main" val="3722468215"/>
                    </a:ext>
                  </a:extLst>
                </a:gridCol>
                <a:gridCol w="297180">
                  <a:extLst>
                    <a:ext uri="{9D8B030D-6E8A-4147-A177-3AD203B41FA5}">
                      <a16:colId xmlns:a16="http://schemas.microsoft.com/office/drawing/2014/main" val="1791620102"/>
                    </a:ext>
                  </a:extLst>
                </a:gridCol>
                <a:gridCol w="742950">
                  <a:extLst>
                    <a:ext uri="{9D8B030D-6E8A-4147-A177-3AD203B41FA5}">
                      <a16:colId xmlns:a16="http://schemas.microsoft.com/office/drawing/2014/main" val="1608420387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1381958272"/>
                    </a:ext>
                  </a:extLst>
                </a:gridCol>
                <a:gridCol w="434340">
                  <a:extLst>
                    <a:ext uri="{9D8B030D-6E8A-4147-A177-3AD203B41FA5}">
                      <a16:colId xmlns:a16="http://schemas.microsoft.com/office/drawing/2014/main" val="503417730"/>
                    </a:ext>
                  </a:extLst>
                </a:gridCol>
                <a:gridCol w="228600">
                  <a:extLst>
                    <a:ext uri="{9D8B030D-6E8A-4147-A177-3AD203B41FA5}">
                      <a16:colId xmlns:a16="http://schemas.microsoft.com/office/drawing/2014/main" val="2432148689"/>
                    </a:ext>
                  </a:extLst>
                </a:gridCol>
              </a:tblGrid>
              <a:tr h="517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Model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Padre Formatted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Area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Line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Lineside Address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Container Type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QPC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extLst>
                  <a:ext uri="{0D108BD9-81ED-4DB2-BD59-A6C34878D82A}">
                    <a16:rowId xmlns:a16="http://schemas.microsoft.com/office/drawing/2014/main" val="6082180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17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3454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9210543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100 091 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3454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,8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0079329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1 67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ONT R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02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9647640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1 56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ONT R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02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9372018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1 588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ONT R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02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3650170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1 56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ONT R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02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1950893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1 6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ONT L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4284739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1 5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ONT L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7945696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1 587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ONT L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338771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1 5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ONT L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731207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V5 833 403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19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4881914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5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19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863251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7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19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8390433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2 038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19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4373843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V5 833 404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19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0274790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6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19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4168051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8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19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893407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2 038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19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3267155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9 481 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ONT R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3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,5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6355569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V5 833 403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7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1090452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0 831 403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7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071623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5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7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801624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7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7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8000361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2 038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7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3949720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V5 833 404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75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7537343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0 831 404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75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7597645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6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75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9731774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8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75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47202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2 038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75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1783530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3 67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AR R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53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0146988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3 458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AR R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53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2578624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3 56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AR R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53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098750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3 56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AR R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53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2132705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3 6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AR L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53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3376375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3 457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AR L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53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2520430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3 5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AR L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53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1430488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3 5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AR LH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553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3749644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7 338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DECKLI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-636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2565024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7 337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DECKLI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-636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9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961532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7 173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DECKLI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-63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0420919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7 177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DECKLI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-63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950837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7 178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DECKLI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-63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9585868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7 755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DECKLI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-63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8032231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7 756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DECKLI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-63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3120895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23 301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 Decan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3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052506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9 897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9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3237569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1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7 987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9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9619408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23 302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2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 Decan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3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0697845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2 056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2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237430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2 056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VB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2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3639988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HT 005 533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2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7543562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9 305 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811357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9 305 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6245364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2 056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887463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105 918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9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5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077334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100 091 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9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,8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1981007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1 390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9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8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8618343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1 135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90-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3363838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1 183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190-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6047407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HT 007 5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5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103344945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0636476"/>
              </p:ext>
            </p:extLst>
          </p:nvPr>
        </p:nvGraphicFramePr>
        <p:xfrm>
          <a:off x="3332031" y="125397"/>
          <a:ext cx="2802860" cy="67219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2513">
                  <a:extLst>
                    <a:ext uri="{9D8B030D-6E8A-4147-A177-3AD203B41FA5}">
                      <a16:colId xmlns:a16="http://schemas.microsoft.com/office/drawing/2014/main" val="4145914558"/>
                    </a:ext>
                  </a:extLst>
                </a:gridCol>
                <a:gridCol w="551537">
                  <a:extLst>
                    <a:ext uri="{9D8B030D-6E8A-4147-A177-3AD203B41FA5}">
                      <a16:colId xmlns:a16="http://schemas.microsoft.com/office/drawing/2014/main" val="3722468215"/>
                    </a:ext>
                  </a:extLst>
                </a:gridCol>
                <a:gridCol w="354330">
                  <a:extLst>
                    <a:ext uri="{9D8B030D-6E8A-4147-A177-3AD203B41FA5}">
                      <a16:colId xmlns:a16="http://schemas.microsoft.com/office/drawing/2014/main" val="1791620102"/>
                    </a:ext>
                  </a:extLst>
                </a:gridCol>
                <a:gridCol w="491490">
                  <a:extLst>
                    <a:ext uri="{9D8B030D-6E8A-4147-A177-3AD203B41FA5}">
                      <a16:colId xmlns:a16="http://schemas.microsoft.com/office/drawing/2014/main" val="1608420387"/>
                    </a:ext>
                  </a:extLst>
                </a:gridCol>
                <a:gridCol w="434340">
                  <a:extLst>
                    <a:ext uri="{9D8B030D-6E8A-4147-A177-3AD203B41FA5}">
                      <a16:colId xmlns:a16="http://schemas.microsoft.com/office/drawing/2014/main" val="1381958272"/>
                    </a:ext>
                  </a:extLst>
                </a:gridCol>
                <a:gridCol w="411480">
                  <a:extLst>
                    <a:ext uri="{9D8B030D-6E8A-4147-A177-3AD203B41FA5}">
                      <a16:colId xmlns:a16="http://schemas.microsoft.com/office/drawing/2014/main" val="503417730"/>
                    </a:ext>
                  </a:extLst>
                </a:gridCol>
                <a:gridCol w="217170">
                  <a:extLst>
                    <a:ext uri="{9D8B030D-6E8A-4147-A177-3AD203B41FA5}">
                      <a16:colId xmlns:a16="http://schemas.microsoft.com/office/drawing/2014/main" val="2432148689"/>
                    </a:ext>
                  </a:extLst>
                </a:gridCol>
              </a:tblGrid>
              <a:tr h="517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Model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Padre Formatted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Area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Line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Lineside Address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Container Type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QPC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extLst>
                  <a:ext uri="{0D108BD9-81ED-4DB2-BD59-A6C34878D82A}">
                    <a16:rowId xmlns:a16="http://schemas.microsoft.com/office/drawing/2014/main" val="6082180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1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WHT 006 581A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I-7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5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5434887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N 907 988 0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I-721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ROD 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7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709317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21 135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VB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J-702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0800770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21 136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VB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J-7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5180982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09 47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VB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J-7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5921429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09 47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VB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J-7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5032173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09 5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VB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J-7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256107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09 53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VB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J-7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1916046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21 18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VB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J-7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5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970507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21 18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VB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J-702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0836568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21 1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VB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J-702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7618013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21 13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VB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J-702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6597642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100 091 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J-702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,8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2414526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9 210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VB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J-702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75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2789334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9 210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VB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J-702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20856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100 091 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J-702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,8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0344871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03 3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U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GEO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M-206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1063102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1 136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-719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9351724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1 184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INIS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LOSU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-719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8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2679471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3 177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HOO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60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6021300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3 189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HOO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60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3504530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3 190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HOO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60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8829733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3 5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FENDE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671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9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5210498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3 57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FENDE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671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8272037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80 681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FENDE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671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0395904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80 682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FENDE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671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404524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1 468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FENDE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671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9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5661786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21 467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 FENDE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671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2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606172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7 4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6356823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7 4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8887704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7 9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9634476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7 9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831171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17 4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6601663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17 4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1797961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17 9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0861083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17 9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831080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17 93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OF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4666958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17 9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OF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R-473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0340262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17 44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OF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627524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17 4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OF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8894341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1 010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OF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ROD 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6422851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HT 003 86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0954368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9 350 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S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-473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,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1173840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0 176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G-457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,5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1703835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94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2177488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2237237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0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992632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7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3442431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97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2100587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6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4154740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6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1467188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1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9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6981625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2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9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9338964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6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7410895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6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6757609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09 9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8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5836222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09 9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8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9500262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62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75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6899076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6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2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8274143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1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94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59088876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5799200"/>
              </p:ext>
            </p:extLst>
          </p:nvPr>
        </p:nvGraphicFramePr>
        <p:xfrm>
          <a:off x="6320541" y="102204"/>
          <a:ext cx="2775818" cy="67219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3664">
                  <a:extLst>
                    <a:ext uri="{9D8B030D-6E8A-4147-A177-3AD203B41FA5}">
                      <a16:colId xmlns:a16="http://schemas.microsoft.com/office/drawing/2014/main" val="4145914558"/>
                    </a:ext>
                  </a:extLst>
                </a:gridCol>
                <a:gridCol w="536204">
                  <a:extLst>
                    <a:ext uri="{9D8B030D-6E8A-4147-A177-3AD203B41FA5}">
                      <a16:colId xmlns:a16="http://schemas.microsoft.com/office/drawing/2014/main" val="3722468215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1791620102"/>
                    </a:ext>
                  </a:extLst>
                </a:gridCol>
                <a:gridCol w="422910">
                  <a:extLst>
                    <a:ext uri="{9D8B030D-6E8A-4147-A177-3AD203B41FA5}">
                      <a16:colId xmlns:a16="http://schemas.microsoft.com/office/drawing/2014/main" val="1608420387"/>
                    </a:ext>
                  </a:extLst>
                </a:gridCol>
                <a:gridCol w="468630">
                  <a:extLst>
                    <a:ext uri="{9D8B030D-6E8A-4147-A177-3AD203B41FA5}">
                      <a16:colId xmlns:a16="http://schemas.microsoft.com/office/drawing/2014/main" val="1381958272"/>
                    </a:ext>
                  </a:extLst>
                </a:gridCol>
                <a:gridCol w="411480">
                  <a:extLst>
                    <a:ext uri="{9D8B030D-6E8A-4147-A177-3AD203B41FA5}">
                      <a16:colId xmlns:a16="http://schemas.microsoft.com/office/drawing/2014/main" val="503417730"/>
                    </a:ext>
                  </a:extLst>
                </a:gridCol>
                <a:gridCol w="217170">
                  <a:extLst>
                    <a:ext uri="{9D8B030D-6E8A-4147-A177-3AD203B41FA5}">
                      <a16:colId xmlns:a16="http://schemas.microsoft.com/office/drawing/2014/main" val="2432148689"/>
                    </a:ext>
                  </a:extLst>
                </a:gridCol>
              </a:tblGrid>
              <a:tr h="517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Model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Padre Formatted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Area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Line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Lineside Address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Container Type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QPC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extLst>
                  <a:ext uri="{0D108BD9-81ED-4DB2-BD59-A6C34878D82A}">
                    <a16:rowId xmlns:a16="http://schemas.microsoft.com/office/drawing/2014/main" val="6082180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94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2177488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2237237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0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992632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7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3442431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97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2100587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6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4154740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6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1467188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1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9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6981625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2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9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9338964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6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7410895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6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6757609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09 9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8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5836222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09 9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8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9500262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62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75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6899076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6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2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8274143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1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94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590888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1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9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4553504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97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RAMER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E-42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2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316006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88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4700581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7 293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6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5025343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49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5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293691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29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8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7757377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29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8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58422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2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4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7402121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09 413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8719910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09 81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9286094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9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6122943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9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9110251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49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4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4597652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9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4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5119387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49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4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5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749255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49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4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5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5476195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35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4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776942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35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4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2541918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9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4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4935661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9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4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0441860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9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4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3113652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2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4019990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35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8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6237377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2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16354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7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9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0796422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7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763602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7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5722541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50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61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2468452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49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61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026747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0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-36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8213925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0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-36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643121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2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34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14245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09 5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362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6462070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09 58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362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4327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64 6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3835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6797893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64 63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3835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145325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0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362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7002101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0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3620-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629142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17 293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3405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8492906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17 294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3405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2317972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10 17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3405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9436187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2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50-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0578870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2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50-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5622911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8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50-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9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513135448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827675"/>
              </p:ext>
            </p:extLst>
          </p:nvPr>
        </p:nvGraphicFramePr>
        <p:xfrm>
          <a:off x="9277892" y="125064"/>
          <a:ext cx="2661579" cy="16484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3664">
                  <a:extLst>
                    <a:ext uri="{9D8B030D-6E8A-4147-A177-3AD203B41FA5}">
                      <a16:colId xmlns:a16="http://schemas.microsoft.com/office/drawing/2014/main" val="4145914558"/>
                    </a:ext>
                  </a:extLst>
                </a:gridCol>
                <a:gridCol w="536265">
                  <a:extLst>
                    <a:ext uri="{9D8B030D-6E8A-4147-A177-3AD203B41FA5}">
                      <a16:colId xmlns:a16="http://schemas.microsoft.com/office/drawing/2014/main" val="3722468215"/>
                    </a:ext>
                  </a:extLst>
                </a:gridCol>
                <a:gridCol w="240030">
                  <a:extLst>
                    <a:ext uri="{9D8B030D-6E8A-4147-A177-3AD203B41FA5}">
                      <a16:colId xmlns:a16="http://schemas.microsoft.com/office/drawing/2014/main" val="1791620102"/>
                    </a:ext>
                  </a:extLst>
                </a:gridCol>
                <a:gridCol w="400050">
                  <a:extLst>
                    <a:ext uri="{9D8B030D-6E8A-4147-A177-3AD203B41FA5}">
                      <a16:colId xmlns:a16="http://schemas.microsoft.com/office/drawing/2014/main" val="160842038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381958272"/>
                    </a:ext>
                  </a:extLst>
                </a:gridCol>
                <a:gridCol w="422910">
                  <a:extLst>
                    <a:ext uri="{9D8B030D-6E8A-4147-A177-3AD203B41FA5}">
                      <a16:colId xmlns:a16="http://schemas.microsoft.com/office/drawing/2014/main" val="503417730"/>
                    </a:ext>
                  </a:extLst>
                </a:gridCol>
                <a:gridCol w="251460">
                  <a:extLst>
                    <a:ext uri="{9D8B030D-6E8A-4147-A177-3AD203B41FA5}">
                      <a16:colId xmlns:a16="http://schemas.microsoft.com/office/drawing/2014/main" val="2432148689"/>
                    </a:ext>
                  </a:extLst>
                </a:gridCol>
              </a:tblGrid>
              <a:tr h="517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Model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Padre Formatted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Area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Line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Lineside Address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Container Type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QPC</a:t>
                      </a:r>
                      <a:endParaRPr lang="en-US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ctr"/>
                </a:tc>
                <a:extLst>
                  <a:ext uri="{0D108BD9-81ED-4DB2-BD59-A6C34878D82A}">
                    <a16:rowId xmlns:a16="http://schemas.microsoft.com/office/drawing/2014/main" val="6082180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1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2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B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BSI RH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550-0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5622911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28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50-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9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5131354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2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34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4741362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50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00-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63531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00-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4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0698255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6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34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303354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64 63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34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29362678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50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00-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5554613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64 630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500-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1271607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8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12621384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7 294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1901478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09 4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3089570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09 8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I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400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7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67" marR="1267" marT="1267" marB="0" anchor="b"/>
                </a:tc>
                <a:extLst>
                  <a:ext uri="{0D108BD9-81ED-4DB2-BD59-A6C34878D82A}">
                    <a16:rowId xmlns:a16="http://schemas.microsoft.com/office/drawing/2014/main" val="4147170968"/>
                  </a:ext>
                </a:extLst>
              </a:tr>
            </a:tbl>
          </a:graphicData>
        </a:graphic>
      </p:graphicFrame>
      <p:sp>
        <p:nvSpPr>
          <p:cNvPr id="6" name="Title 2"/>
          <p:cNvSpPr txBox="1">
            <a:spLocks/>
          </p:cNvSpPr>
          <p:nvPr/>
        </p:nvSpPr>
        <p:spPr>
          <a:xfrm>
            <a:off x="9096359" y="1888457"/>
            <a:ext cx="2843112" cy="47048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BS/Frame/Closure KLT Route (K51) Curr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4268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2" name="Object 4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-180975"/>
            <a:ext cx="10515600" cy="1325563"/>
          </a:xfrm>
        </p:spPr>
        <p:txBody>
          <a:bodyPr/>
          <a:lstStyle/>
          <a:p>
            <a:r>
              <a:rPr lang="en-US" dirty="0" smtClean="0"/>
              <a:t>HOP KLT Route (K52) (Current)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442358" y="2157666"/>
            <a:ext cx="484632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3503334" y="2204556"/>
            <a:ext cx="0" cy="68580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3485988" y="2913134"/>
            <a:ext cx="722376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10701392" y="2899737"/>
            <a:ext cx="0" cy="114300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V="1">
            <a:off x="10709782" y="4032186"/>
            <a:ext cx="118872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11877968" y="1312441"/>
            <a:ext cx="0" cy="274320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V="1">
            <a:off x="10029284" y="1341699"/>
            <a:ext cx="18288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10012956" y="1312441"/>
            <a:ext cx="0" cy="82296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V="1">
            <a:off x="10081596" y="1940790"/>
            <a:ext cx="173736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11802942" y="1925004"/>
            <a:ext cx="0" cy="91440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flipV="1">
            <a:off x="5297830" y="2839404"/>
            <a:ext cx="649224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5297830" y="2153604"/>
            <a:ext cx="0" cy="68580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V="1">
            <a:off x="9335925" y="2156737"/>
            <a:ext cx="6858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9353074" y="1436916"/>
            <a:ext cx="0" cy="73152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V="1">
            <a:off x="8724422" y="1453244"/>
            <a:ext cx="64008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8724422" y="1445080"/>
            <a:ext cx="0" cy="77724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8724422" y="2211364"/>
            <a:ext cx="137160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10072349" y="1933168"/>
            <a:ext cx="0" cy="27432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451362" y="2141338"/>
            <a:ext cx="0" cy="41148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V="1">
            <a:off x="1172161" y="2211668"/>
            <a:ext cx="233172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1172161" y="2211668"/>
            <a:ext cx="0" cy="36576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flipV="1">
            <a:off x="1172161" y="2552818"/>
            <a:ext cx="548640" cy="0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209550" y="800100"/>
            <a:ext cx="1982746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/>
              <a:t>Current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4234407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4302295"/>
              </p:ext>
            </p:extLst>
          </p:nvPr>
        </p:nvGraphicFramePr>
        <p:xfrm>
          <a:off x="889395" y="94510"/>
          <a:ext cx="2768806" cy="66922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5051">
                  <a:extLst>
                    <a:ext uri="{9D8B030D-6E8A-4147-A177-3AD203B41FA5}">
                      <a16:colId xmlns:a16="http://schemas.microsoft.com/office/drawing/2014/main" val="271919097"/>
                    </a:ext>
                  </a:extLst>
                </a:gridCol>
                <a:gridCol w="553500">
                  <a:extLst>
                    <a:ext uri="{9D8B030D-6E8A-4147-A177-3AD203B41FA5}">
                      <a16:colId xmlns:a16="http://schemas.microsoft.com/office/drawing/2014/main" val="2201339263"/>
                    </a:ext>
                  </a:extLst>
                </a:gridCol>
                <a:gridCol w="339411">
                  <a:extLst>
                    <a:ext uri="{9D8B030D-6E8A-4147-A177-3AD203B41FA5}">
                      <a16:colId xmlns:a16="http://schemas.microsoft.com/office/drawing/2014/main" val="4263090903"/>
                    </a:ext>
                  </a:extLst>
                </a:gridCol>
                <a:gridCol w="454290">
                  <a:extLst>
                    <a:ext uri="{9D8B030D-6E8A-4147-A177-3AD203B41FA5}">
                      <a16:colId xmlns:a16="http://schemas.microsoft.com/office/drawing/2014/main" val="2512537029"/>
                    </a:ext>
                  </a:extLst>
                </a:gridCol>
                <a:gridCol w="459511">
                  <a:extLst>
                    <a:ext uri="{9D8B030D-6E8A-4147-A177-3AD203B41FA5}">
                      <a16:colId xmlns:a16="http://schemas.microsoft.com/office/drawing/2014/main" val="53624157"/>
                    </a:ext>
                  </a:extLst>
                </a:gridCol>
                <a:gridCol w="360294">
                  <a:extLst>
                    <a:ext uri="{9D8B030D-6E8A-4147-A177-3AD203B41FA5}">
                      <a16:colId xmlns:a16="http://schemas.microsoft.com/office/drawing/2014/main" val="1018882257"/>
                    </a:ext>
                  </a:extLst>
                </a:gridCol>
                <a:gridCol w="276749">
                  <a:extLst>
                    <a:ext uri="{9D8B030D-6E8A-4147-A177-3AD203B41FA5}">
                      <a16:colId xmlns:a16="http://schemas.microsoft.com/office/drawing/2014/main" val="919201132"/>
                    </a:ext>
                  </a:extLst>
                </a:gridCol>
              </a:tblGrid>
              <a:tr h="60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Model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Padre Formatted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Area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Line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Lineside Address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Container Type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QPC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extLst>
                  <a:ext uri="{0D108BD9-81ED-4DB2-BD59-A6C34878D82A}">
                    <a16:rowId xmlns:a16="http://schemas.microsoft.com/office/drawing/2014/main" val="167756506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0 656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11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,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89114732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9 454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11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51934727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6 526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11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,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06900423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9 876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11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,5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7435979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6 547 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111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,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26586723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HT 000 8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22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,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78252336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0 299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22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5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502924313"/>
                  </a:ext>
                </a:extLst>
              </a:tr>
              <a:tr h="294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100 091 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22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,8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46829684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HT 000 86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#N/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858660870"/>
                  </a:ext>
                </a:extLst>
              </a:tr>
              <a:tr h="294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1 533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22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,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92537462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8 895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#N/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,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27222260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2 316 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22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,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97567832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6 526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22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,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84538586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HT 000 8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22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,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880749692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0 698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22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,5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80072860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HT 000 26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22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,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01910229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6 547 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ESPOT 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22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,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37922617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011 076 6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SA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4605-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,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035838478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V3 827 299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-68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23466932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2 068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-68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19205347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27 177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-64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 Decan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37372167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27 178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-64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 Decan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97408265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27 173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-64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 Decan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3801501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1 166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-64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,5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836244762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0 772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-64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,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62540645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27 4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-6400-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373063368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27 44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F-6400-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18968623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ATLAS FAM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23 19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OO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6030-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626418892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ATLAS FAM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23 413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OO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6030-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70327130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ATLAS FAM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23 177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OO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6030-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 Decan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13066480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ATLAS FAM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23 178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OO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6030-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 Decan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45898039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ATLAS FAM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23 1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 HOO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6030-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 Decan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002520308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0 772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0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,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02777776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0 772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5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,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44810447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1 67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82624543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31 58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52636246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1 56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07677682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1 56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02049743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1 56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196756832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1 674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4250346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1 56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28956976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1 58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55483561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3 6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62763829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3 457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63927679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3 5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85089299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3 5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12906150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3 6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59173329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3 5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03422803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3 561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48984045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3 45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0270317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3 123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64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03754985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V5 833 404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2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960575930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3234433"/>
              </p:ext>
            </p:extLst>
          </p:nvPr>
        </p:nvGraphicFramePr>
        <p:xfrm>
          <a:off x="3985362" y="196768"/>
          <a:ext cx="3226526" cy="64877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8787">
                  <a:extLst>
                    <a:ext uri="{9D8B030D-6E8A-4147-A177-3AD203B41FA5}">
                      <a16:colId xmlns:a16="http://schemas.microsoft.com/office/drawing/2014/main" val="271919097"/>
                    </a:ext>
                  </a:extLst>
                </a:gridCol>
                <a:gridCol w="645000">
                  <a:extLst>
                    <a:ext uri="{9D8B030D-6E8A-4147-A177-3AD203B41FA5}">
                      <a16:colId xmlns:a16="http://schemas.microsoft.com/office/drawing/2014/main" val="2201339263"/>
                    </a:ext>
                  </a:extLst>
                </a:gridCol>
                <a:gridCol w="395521">
                  <a:extLst>
                    <a:ext uri="{9D8B030D-6E8A-4147-A177-3AD203B41FA5}">
                      <a16:colId xmlns:a16="http://schemas.microsoft.com/office/drawing/2014/main" val="4263090903"/>
                    </a:ext>
                  </a:extLst>
                </a:gridCol>
                <a:gridCol w="529391">
                  <a:extLst>
                    <a:ext uri="{9D8B030D-6E8A-4147-A177-3AD203B41FA5}">
                      <a16:colId xmlns:a16="http://schemas.microsoft.com/office/drawing/2014/main" val="2512537029"/>
                    </a:ext>
                  </a:extLst>
                </a:gridCol>
                <a:gridCol w="535474">
                  <a:extLst>
                    <a:ext uri="{9D8B030D-6E8A-4147-A177-3AD203B41FA5}">
                      <a16:colId xmlns:a16="http://schemas.microsoft.com/office/drawing/2014/main" val="53624157"/>
                    </a:ext>
                  </a:extLst>
                </a:gridCol>
                <a:gridCol w="419854">
                  <a:extLst>
                    <a:ext uri="{9D8B030D-6E8A-4147-A177-3AD203B41FA5}">
                      <a16:colId xmlns:a16="http://schemas.microsoft.com/office/drawing/2014/main" val="1018882257"/>
                    </a:ext>
                  </a:extLst>
                </a:gridCol>
                <a:gridCol w="322499">
                  <a:extLst>
                    <a:ext uri="{9D8B030D-6E8A-4147-A177-3AD203B41FA5}">
                      <a16:colId xmlns:a16="http://schemas.microsoft.com/office/drawing/2014/main" val="919201132"/>
                    </a:ext>
                  </a:extLst>
                </a:gridCol>
              </a:tblGrid>
              <a:tr h="60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Model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Padre Formatted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Area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Line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Lineside Address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Container Type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QPC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extLst>
                  <a:ext uri="{0D108BD9-81ED-4DB2-BD59-A6C34878D82A}">
                    <a16:rowId xmlns:a16="http://schemas.microsoft.com/office/drawing/2014/main" val="167756506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V5 833 404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2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96057593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N0 831 402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PA2 DOOR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2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9824268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N0 831 402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2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10385154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6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HO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2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7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96589697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8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524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7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90962024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2 038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524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ROD 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6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37605158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1 428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HO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524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ROD 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5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02122242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V5 833 403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574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475388288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0 831 403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574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76688165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N0 831 401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574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1004085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N0 831 401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HO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574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304969932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8X4 833 405A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HO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PA2 DOOR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5740-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57567514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7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PA2 DOOR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7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13467994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N 912 038 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PA2 DOOR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7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ROD 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22027629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N 911 428 0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PA2 DOOR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57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ROD 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161184738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CN 809 61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808-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79139805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2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808-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06065510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37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-3808-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7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17318329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09 61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808-0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9053172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6 526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808-0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ROD 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,0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2378909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09 61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808-0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50713693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2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808-0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65700474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64 638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808-0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08574598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09 6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808-0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8422948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R0 810 6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808-0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51359122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R0 810 6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808-0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9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693605248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06 526 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808-0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,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30592921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10 3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 BSO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Q-3835-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57048029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10 3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 BSO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Q-3835-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19171784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09 6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 BSO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3835-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5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20459544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09 61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BSO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 BSO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Q-3835-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5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581971508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09 643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808-0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21763174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09 644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808-0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419085238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2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Q-3835-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6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11015381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2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Q-3835-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6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60448954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10 843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808-0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4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263479362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10 844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-3808-0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4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37586147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10 333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BSO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38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6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7792444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10 334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38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88916142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42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 BSO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3846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5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739926088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39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 BSO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3846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08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03692087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39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 BSO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Q-3846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08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992922342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V5 833 403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HO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PA2 DOOR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2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16234804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N0 831 401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HO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2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90248382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7N0 831 401C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HO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2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28317934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8X4 833 405A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2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34885592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7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2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68796848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2 038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2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191957229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1 428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2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36276774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V5 833 404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7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14263965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0 831 404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7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92969016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N0 831 402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7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82676989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N0 831 402C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7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22776011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6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7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76106346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X4 833 408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7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15531504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2 038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7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90010875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1 428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7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574273162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3 124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640-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390853313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0060686"/>
              </p:ext>
            </p:extLst>
          </p:nvPr>
        </p:nvGraphicFramePr>
        <p:xfrm>
          <a:off x="7394671" y="1819078"/>
          <a:ext cx="3554067" cy="48654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7239">
                  <a:extLst>
                    <a:ext uri="{9D8B030D-6E8A-4147-A177-3AD203B41FA5}">
                      <a16:colId xmlns:a16="http://schemas.microsoft.com/office/drawing/2014/main" val="271919097"/>
                    </a:ext>
                  </a:extLst>
                </a:gridCol>
                <a:gridCol w="710478">
                  <a:extLst>
                    <a:ext uri="{9D8B030D-6E8A-4147-A177-3AD203B41FA5}">
                      <a16:colId xmlns:a16="http://schemas.microsoft.com/office/drawing/2014/main" val="2201339263"/>
                    </a:ext>
                  </a:extLst>
                </a:gridCol>
                <a:gridCol w="435671">
                  <a:extLst>
                    <a:ext uri="{9D8B030D-6E8A-4147-A177-3AD203B41FA5}">
                      <a16:colId xmlns:a16="http://schemas.microsoft.com/office/drawing/2014/main" val="4263090903"/>
                    </a:ext>
                  </a:extLst>
                </a:gridCol>
                <a:gridCol w="583131">
                  <a:extLst>
                    <a:ext uri="{9D8B030D-6E8A-4147-A177-3AD203B41FA5}">
                      <a16:colId xmlns:a16="http://schemas.microsoft.com/office/drawing/2014/main" val="2512537029"/>
                    </a:ext>
                  </a:extLst>
                </a:gridCol>
                <a:gridCol w="589833">
                  <a:extLst>
                    <a:ext uri="{9D8B030D-6E8A-4147-A177-3AD203B41FA5}">
                      <a16:colId xmlns:a16="http://schemas.microsoft.com/office/drawing/2014/main" val="53624157"/>
                    </a:ext>
                  </a:extLst>
                </a:gridCol>
                <a:gridCol w="462477">
                  <a:extLst>
                    <a:ext uri="{9D8B030D-6E8A-4147-A177-3AD203B41FA5}">
                      <a16:colId xmlns:a16="http://schemas.microsoft.com/office/drawing/2014/main" val="1018882257"/>
                    </a:ext>
                  </a:extLst>
                </a:gridCol>
                <a:gridCol w="355238">
                  <a:extLst>
                    <a:ext uri="{9D8B030D-6E8A-4147-A177-3AD203B41FA5}">
                      <a16:colId xmlns:a16="http://schemas.microsoft.com/office/drawing/2014/main" val="919201132"/>
                    </a:ext>
                  </a:extLst>
                </a:gridCol>
              </a:tblGrid>
              <a:tr h="60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 dirty="0">
                          <a:effectLst/>
                        </a:rPr>
                        <a:t>Model</a:t>
                      </a:r>
                      <a:endParaRPr lang="en-US" sz="7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Padre Formatted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Area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Line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Lineside Address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Container Type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>
                          <a:effectLst/>
                        </a:rPr>
                        <a:t>QPC</a:t>
                      </a:r>
                      <a:endParaRPr lang="en-US" sz="7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ctr"/>
                </a:tc>
                <a:extLst>
                  <a:ext uri="{0D108BD9-81ED-4DB2-BD59-A6C34878D82A}">
                    <a16:rowId xmlns:a16="http://schemas.microsoft.com/office/drawing/2014/main" val="167756506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1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3 124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HO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PA2 DOOR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B-5640-0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39085331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1 6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HO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1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15907704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CC 831 58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HO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92000864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CN 831 56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52485535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31 5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87653038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561 831 56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97121385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561 831 673B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06613946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561 831 56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5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07321727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1 5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0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951673278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CN 833 67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44699866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CN 833 458A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31671645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CN 833 56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83695521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3CN 833 56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21498052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41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3 67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29083397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3 56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48841025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3 562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93637017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3 45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5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312499772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0 772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0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,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48656765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0 772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PA2 DOOR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-55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,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963543191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Coup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G6 827 301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T-66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74" marR="1474" marT="1474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ROD KL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37410475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HT 006 581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T-66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73021968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2 068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T-66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8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20689042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0 772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T-662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74" marR="1474" marT="1474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2,6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66910235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27 17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T-63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 Decan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80909980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27 17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T-63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 Decan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102653052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C 827 1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T-63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89474377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N 911 166 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T-630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ROD 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,5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54868579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27 4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64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7534669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M 827 44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COUPE HATC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644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62982196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1 152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INDOW SU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S-4650-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672142546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1 64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INDOW SU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S-4650-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894332595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3 2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INDOW SU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S-4650-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03332694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1 61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INDOW SU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S-4650-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48974896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1 151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INDOW SU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S-466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92384432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1 64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INDOW SU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S-466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095915668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3 29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INDOW SU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S-466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8954767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31 61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HOP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WINDOW SUB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S-466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89617067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3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38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4026569828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3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38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69314076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42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38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5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690989790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39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L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38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08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2682054494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3CN 810 39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38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108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1833605913"/>
                  </a:ext>
                </a:extLst>
              </a:tr>
              <a:tr h="284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4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561 810 42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BSO R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D-3850-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>
                          <a:effectLst/>
                        </a:rPr>
                        <a:t>KL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u="none" strike="noStrike" dirty="0">
                          <a:effectLst/>
                        </a:rPr>
                        <a:t>24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4" marR="1474" marT="1474" marB="0" anchor="b"/>
                </a:tc>
                <a:extLst>
                  <a:ext uri="{0D108BD9-81ED-4DB2-BD59-A6C34878D82A}">
                    <a16:rowId xmlns:a16="http://schemas.microsoft.com/office/drawing/2014/main" val="3935519808"/>
                  </a:ext>
                </a:extLst>
              </a:tr>
            </a:tbl>
          </a:graphicData>
        </a:graphic>
      </p:graphicFrame>
      <p:sp>
        <p:nvSpPr>
          <p:cNvPr id="5" name="Title 2"/>
          <p:cNvSpPr txBox="1">
            <a:spLocks/>
          </p:cNvSpPr>
          <p:nvPr/>
        </p:nvSpPr>
        <p:spPr>
          <a:xfrm>
            <a:off x="7211888" y="196768"/>
            <a:ext cx="489188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HOP KLT Route (K52) (Curren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1674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SBkK5ATvKHo4PTs3IE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dzxJfvTu.mH16mO817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giM2VsSIKe3Cr7aIaf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f8jeOvSVGNN5sIc30U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f8jeOvSVGNN5sIc30U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f8jeOvSVGNN5sIc30U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36</Words>
  <Application>Microsoft Office PowerPoint</Application>
  <PresentationFormat>Widescreen</PresentationFormat>
  <Paragraphs>354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Office Theme</vt:lpstr>
      <vt:lpstr>think-cell Slide</vt:lpstr>
      <vt:lpstr>UB KLT Route 1 (K50.1)</vt:lpstr>
      <vt:lpstr>UB KLT Route 2 (K50.2)</vt:lpstr>
      <vt:lpstr>UB KLT Route 3 (K50.3)</vt:lpstr>
      <vt:lpstr>BS/Frame/Closure KLT Route (K51) Current</vt:lpstr>
      <vt:lpstr>PowerPoint Presentation</vt:lpstr>
      <vt:lpstr>HOP KLT Route (K52) (Current)</vt:lpstr>
      <vt:lpstr>PowerPoint Presentation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B KLT Route 1 (K50.1)</dc:title>
  <dc:creator>Alexander, Christopher</dc:creator>
  <cp:lastModifiedBy>Alexander, Christopher</cp:lastModifiedBy>
  <cp:revision>9</cp:revision>
  <dcterms:created xsi:type="dcterms:W3CDTF">2020-10-14T19:59:44Z</dcterms:created>
  <dcterms:modified xsi:type="dcterms:W3CDTF">2020-10-14T20:40:24Z</dcterms:modified>
</cp:coreProperties>
</file>